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sldIdLst>
    <p:sldId id="2146449418" r:id="rId2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97" d="100"/>
          <a:sy n="97" d="100"/>
        </p:scale>
        <p:origin x="1110" y="3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7876FADA-1716-430F-B049-FD81C1151078}" type="datetimeFigureOut">
              <a:rPr lang="en-US" smtClean="0"/>
              <a:t>3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FA7C09-F700-4A62-A999-2A6567109C8C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61475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76FADA-1716-430F-B049-FD81C1151078}" type="datetimeFigureOut">
              <a:rPr lang="en-US" smtClean="0"/>
              <a:t>3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FA7C09-F700-4A62-A999-2A6567109C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0238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762000"/>
            <a:ext cx="2628900" cy="5410200"/>
          </a:xfrm>
        </p:spPr>
        <p:txBody>
          <a:bodyPr vert="eaVert" lIns="45720" tIns="91440" rIns="45720" bIns="9144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1" y="762000"/>
            <a:ext cx="7581900" cy="5410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76FADA-1716-430F-B049-FD81C1151078}" type="datetimeFigureOut">
              <a:rPr lang="en-US" smtClean="0"/>
              <a:t>3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FA7C09-F700-4A62-A999-2A6567109C8C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10058400" y="59263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45340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76FADA-1716-430F-B049-FD81C1151078}" type="datetimeFigureOut">
              <a:rPr lang="en-US" smtClean="0"/>
              <a:t>3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FA7C09-F700-4A62-A999-2A6567109C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12823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b="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76FADA-1716-430F-B049-FD81C1151078}" type="datetimeFigureOut">
              <a:rPr lang="en-US" smtClean="0"/>
              <a:t>3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FA7C09-F700-4A62-A999-2A6567109C8C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73335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4127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89320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76FADA-1716-430F-B049-FD81C1151078}" type="datetimeFigureOut">
              <a:rPr lang="en-US" smtClean="0"/>
              <a:t>3/7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FA7C09-F700-4A62-A999-2A6567109C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68469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00" b="0" cap="none" baseline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412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9088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300" b="0" kern="1200" cap="none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9088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76FADA-1716-430F-B049-FD81C1151078}" type="datetimeFigureOut">
              <a:rPr lang="en-US" smtClean="0"/>
              <a:t>3/7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FA7C09-F700-4A62-A999-2A6567109C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39927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76FADA-1716-430F-B049-FD81C1151078}" type="datetimeFigureOut">
              <a:rPr lang="en-US" smtClean="0"/>
              <a:t>3/7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FA7C09-F700-4A62-A999-2A6567109C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65131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76FADA-1716-430F-B049-FD81C1151078}" type="datetimeFigureOut">
              <a:rPr lang="en-US" smtClean="0"/>
              <a:t>3/7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FA7C09-F700-4A62-A999-2A6567109C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7307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24128" y="471509"/>
            <a:ext cx="4389120" cy="173736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0" y="822960"/>
            <a:ext cx="5678424" cy="51846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128" y="2257506"/>
            <a:ext cx="4389120" cy="3762294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76FADA-1716-430F-B049-FD81C1151078}" type="datetimeFigureOut">
              <a:rPr lang="en-US" smtClean="0"/>
              <a:t>3/7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FA7C09-F700-4A62-A999-2A6567109C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40033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8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12188952" cy="4572000"/>
          </a:xfrm>
          <a:solidFill>
            <a:schemeClr val="accent1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10600" y="4960138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76FADA-1716-430F-B049-FD81C1151078}" type="datetimeFigureOut">
              <a:rPr lang="en-US" smtClean="0"/>
              <a:t>3/7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FA7C09-F700-4A62-A999-2A6567109C8C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07984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286000"/>
            <a:ext cx="9720073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7876FADA-1716-430F-B049-FD81C1151078}" type="datetimeFigureOut">
              <a:rPr lang="en-US" smtClean="0"/>
              <a:t>3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ADFA7C09-F700-4A62-A999-2A6567109C8C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762000" y="826324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3452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5000" kern="1200" cap="all" spc="10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Tw Cen MT" panose="020B0602020104020603" pitchFamily="34" charset="0"/>
        <a:buChar char=" 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7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480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7724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704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152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4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chat.mistral.ai/chat" TargetMode="External"/><Relationship Id="rId13" Type="http://schemas.openxmlformats.org/officeDocument/2006/relationships/hyperlink" Target="https://www.anthropic.com/" TargetMode="External"/><Relationship Id="rId3" Type="http://schemas.openxmlformats.org/officeDocument/2006/relationships/oleObject" Target="../embeddings/oleObject1.bin"/><Relationship Id="rId7" Type="http://schemas.openxmlformats.org/officeDocument/2006/relationships/hyperlink" Target="https://en.wikipedia.org/wiki/Mistral_AI" TargetMode="External"/><Relationship Id="rId12" Type="http://schemas.openxmlformats.org/officeDocument/2006/relationships/hyperlink" Target="https://sakana.ai/" TargetMode="Externa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Relationship Id="rId6" Type="http://schemas.openxmlformats.org/officeDocument/2006/relationships/hyperlink" Target="https://ai-pro.org/learn-ai/articles/mistral-ai-the-winds-of-change-in-open-source-ai/" TargetMode="External"/><Relationship Id="rId11" Type="http://schemas.openxmlformats.org/officeDocument/2006/relationships/hyperlink" Target="https://x.ai/" TargetMode="External"/><Relationship Id="rId5" Type="http://schemas.openxmlformats.org/officeDocument/2006/relationships/hyperlink" Target="https://mistral.ai/en" TargetMode="External"/><Relationship Id="rId10" Type="http://schemas.openxmlformats.org/officeDocument/2006/relationships/hyperlink" Target="https://openai.com/" TargetMode="External"/><Relationship Id="rId4" Type="http://schemas.openxmlformats.org/officeDocument/2006/relationships/image" Target="../media/image2.emf"/><Relationship Id="rId9" Type="http://schemas.openxmlformats.org/officeDocument/2006/relationships/hyperlink" Target="http://linkedin.com/company/mistralai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" name="think-cell data - do not delete" hidden="1">
            <a:extLst>
              <a:ext uri="{FF2B5EF4-FFF2-40B4-BE49-F238E27FC236}">
                <a16:creationId xmlns:a16="http://schemas.microsoft.com/office/drawing/2014/main" id="{0210DAEE-35EA-E50D-CD96-E8E8CE5693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10DAEE-35EA-E50D-CD96-E8E8CE5693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25DAFAC-64E0-8C84-4FBC-29E6B8CED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8808" y="216565"/>
            <a:ext cx="11612880" cy="962571"/>
          </a:xfrm>
          <a:solidFill>
            <a:schemeClr val="accent2"/>
          </a:solidFill>
        </p:spPr>
        <p:txBody>
          <a:bodyPr vert="horz">
            <a:normAutofit fontScale="90000"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Summary of Mistral.ai shows an ecosystem of AI models and Products built around NLP and general text processing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265747B-E459-52CC-EEF9-039994B8D245}"/>
              </a:ext>
            </a:extLst>
          </p:cNvPr>
          <p:cNvSpPr/>
          <p:nvPr/>
        </p:nvSpPr>
        <p:spPr>
          <a:xfrm>
            <a:off x="46746" y="3869776"/>
            <a:ext cx="886968" cy="256032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 b="1" kern="10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istral AI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A7ADF84-2DE1-A26C-3521-08606C3667D0}"/>
              </a:ext>
            </a:extLst>
          </p:cNvPr>
          <p:cNvSpPr/>
          <p:nvPr/>
        </p:nvSpPr>
        <p:spPr>
          <a:xfrm>
            <a:off x="1726194" y="1516720"/>
            <a:ext cx="7156705" cy="256032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 b="1" kern="10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mpany Profi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FD6FB73-8AB1-E98F-A994-F905AF403DE6}"/>
              </a:ext>
            </a:extLst>
          </p:cNvPr>
          <p:cNvSpPr/>
          <p:nvPr/>
        </p:nvSpPr>
        <p:spPr>
          <a:xfrm>
            <a:off x="1726194" y="2875046"/>
            <a:ext cx="7156707" cy="256032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 b="1" kern="10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odels</a:t>
            </a:r>
            <a:endParaRPr lang="en-US" sz="1000" b="1" kern="100" dirty="0">
              <a:solidFill>
                <a:schemeClr val="bg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822C8DC-F3D0-54D4-08CB-86AD4AECF1EC}"/>
              </a:ext>
            </a:extLst>
          </p:cNvPr>
          <p:cNvSpPr/>
          <p:nvPr/>
        </p:nvSpPr>
        <p:spPr>
          <a:xfrm>
            <a:off x="1726194" y="4247728"/>
            <a:ext cx="7156707" cy="256032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 b="1" kern="10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oducts</a:t>
            </a:r>
            <a:endParaRPr lang="en-US" sz="1000" b="1" kern="100" dirty="0">
              <a:solidFill>
                <a:schemeClr val="bg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FBDBEF6-7567-E778-4778-C6BAC7DE21FE}"/>
              </a:ext>
            </a:extLst>
          </p:cNvPr>
          <p:cNvSpPr/>
          <p:nvPr/>
        </p:nvSpPr>
        <p:spPr>
          <a:xfrm>
            <a:off x="1726193" y="5501980"/>
            <a:ext cx="7156709" cy="256032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 b="1" kern="10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 Cases</a:t>
            </a:r>
            <a:endParaRPr lang="en-US" sz="1000" b="1" kern="100" dirty="0">
              <a:solidFill>
                <a:schemeClr val="bg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76893205-EF0A-B3FF-E988-6198F6DB6730}"/>
              </a:ext>
            </a:extLst>
          </p:cNvPr>
          <p:cNvCxnSpPr>
            <a:cxnSpLocks/>
            <a:stCxn id="6" idx="3"/>
            <a:endCxn id="7" idx="1"/>
          </p:cNvCxnSpPr>
          <p:nvPr/>
        </p:nvCxnSpPr>
        <p:spPr>
          <a:xfrm flipV="1">
            <a:off x="933714" y="1644736"/>
            <a:ext cx="792480" cy="2353056"/>
          </a:xfrm>
          <a:prstGeom prst="bentConnector3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56DB46BB-83C6-8E3A-3C60-71168F464B35}"/>
              </a:ext>
            </a:extLst>
          </p:cNvPr>
          <p:cNvCxnSpPr>
            <a:cxnSpLocks/>
            <a:stCxn id="6" idx="3"/>
            <a:endCxn id="8" idx="1"/>
          </p:cNvCxnSpPr>
          <p:nvPr/>
        </p:nvCxnSpPr>
        <p:spPr>
          <a:xfrm flipV="1">
            <a:off x="933714" y="3003062"/>
            <a:ext cx="792480" cy="994730"/>
          </a:xfrm>
          <a:prstGeom prst="bentConnector3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BB6FFC25-B956-804A-7DA6-5BAF77E3A80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>
            <a:off x="933714" y="3997792"/>
            <a:ext cx="792480" cy="377952"/>
          </a:xfrm>
          <a:prstGeom prst="bentConnector3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EFF573B0-76E2-92B1-2DEC-9DF1D98AF31F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933714" y="3997792"/>
            <a:ext cx="792479" cy="1632204"/>
          </a:xfrm>
          <a:prstGeom prst="bentConnector3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0DF32EF-4291-F303-25AB-1DB2508C18DE}"/>
              </a:ext>
            </a:extLst>
          </p:cNvPr>
          <p:cNvSpPr/>
          <p:nvPr/>
        </p:nvSpPr>
        <p:spPr>
          <a:xfrm>
            <a:off x="2165106" y="1958680"/>
            <a:ext cx="1773936" cy="795193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000" b="1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Headquarters</a:t>
            </a:r>
            <a: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: Paris, France</a:t>
            </a:r>
            <a:b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IN" sz="1000" b="1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ounded</a:t>
            </a:r>
            <a: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: April 2023</a:t>
            </a:r>
            <a:b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IN" sz="1000" b="1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Valuation</a:t>
            </a:r>
            <a: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: $6.2 Billion</a:t>
            </a:r>
            <a:b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IN" sz="1000" b="1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mployees</a:t>
            </a:r>
            <a: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: 51-200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8AB9893-C27A-87CD-CE6E-5F1F106EE52B}"/>
              </a:ext>
            </a:extLst>
          </p:cNvPr>
          <p:cNvSpPr/>
          <p:nvPr/>
        </p:nvSpPr>
        <p:spPr>
          <a:xfrm>
            <a:off x="4377955" y="1958680"/>
            <a:ext cx="1773936" cy="795193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>
                <a:solidFill>
                  <a:schemeClr val="tx1">
                    <a:lumMod val="50000"/>
                    <a:lumOff val="50000"/>
                  </a:schemeClr>
                </a:solidFill>
              </a:rPr>
              <a:t>Funding</a:t>
            </a:r>
            <a:r>
              <a:rPr lang="en-US" sz="1000">
                <a:solidFill>
                  <a:schemeClr val="tx1">
                    <a:lumMod val="50000"/>
                    <a:lumOff val="50000"/>
                  </a:schemeClr>
                </a:solidFill>
              </a:rPr>
              <a:t>: </a:t>
            </a:r>
            <a:br>
              <a:rPr lang="en-US" sz="100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>
                <a:solidFill>
                  <a:schemeClr val="tx1">
                    <a:lumMod val="50000"/>
                    <a:lumOff val="50000"/>
                  </a:schemeClr>
                </a:solidFill>
              </a:rPr>
              <a:t>€105 million - June 2023</a:t>
            </a:r>
            <a:br>
              <a:rPr lang="en-US" sz="100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>
                <a:solidFill>
                  <a:schemeClr val="tx1">
                    <a:lumMod val="50000"/>
                    <a:lumOff val="50000"/>
                  </a:schemeClr>
                </a:solidFill>
              </a:rPr>
              <a:t>€385 million - October 2023</a:t>
            </a:r>
          </a:p>
          <a:p>
            <a:r>
              <a:rPr lang="en-US" sz="1000">
                <a:solidFill>
                  <a:schemeClr val="tx1">
                    <a:lumMod val="50000"/>
                    <a:lumOff val="50000"/>
                  </a:schemeClr>
                </a:solidFill>
              </a:rPr>
              <a:t>€600 million - June 2024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B52B91B-91E2-93A9-C2FD-D84BE8E2F039}"/>
              </a:ext>
            </a:extLst>
          </p:cNvPr>
          <p:cNvSpPr/>
          <p:nvPr/>
        </p:nvSpPr>
        <p:spPr>
          <a:xfrm>
            <a:off x="6590804" y="1958680"/>
            <a:ext cx="1773936" cy="795193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under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rthur Mensch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uillaume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Lam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imothée Lacroix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7280A181-8771-59E8-81BF-9D5489E7F588}"/>
              </a:ext>
            </a:extLst>
          </p:cNvPr>
          <p:cNvCxnSpPr>
            <a:cxnSpLocks/>
          </p:cNvCxnSpPr>
          <p:nvPr/>
        </p:nvCxnSpPr>
        <p:spPr>
          <a:xfrm>
            <a:off x="3052074" y="1772752"/>
            <a:ext cx="0" cy="185928"/>
          </a:xfrm>
          <a:prstGeom prst="straightConnector1">
            <a:avLst/>
          </a:prstGeom>
          <a:ln w="3175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60C12A9D-B095-6AFB-5F5C-F9BE4E73E30B}"/>
              </a:ext>
            </a:extLst>
          </p:cNvPr>
          <p:cNvCxnSpPr>
            <a:cxnSpLocks/>
          </p:cNvCxnSpPr>
          <p:nvPr/>
        </p:nvCxnSpPr>
        <p:spPr>
          <a:xfrm>
            <a:off x="5264923" y="1777324"/>
            <a:ext cx="0" cy="185928"/>
          </a:xfrm>
          <a:prstGeom prst="straightConnector1">
            <a:avLst/>
          </a:prstGeom>
          <a:ln w="3175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31E4816F-6DEA-0739-F11D-0CE8D49503A9}"/>
              </a:ext>
            </a:extLst>
          </p:cNvPr>
          <p:cNvCxnSpPr>
            <a:cxnSpLocks/>
          </p:cNvCxnSpPr>
          <p:nvPr/>
        </p:nvCxnSpPr>
        <p:spPr>
          <a:xfrm>
            <a:off x="7477772" y="1772752"/>
            <a:ext cx="0" cy="185928"/>
          </a:xfrm>
          <a:prstGeom prst="straightConnector1">
            <a:avLst/>
          </a:prstGeom>
          <a:ln w="3175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E1D1FD1B-162C-E490-1DB7-6C41A0584C5D}"/>
              </a:ext>
            </a:extLst>
          </p:cNvPr>
          <p:cNvSpPr/>
          <p:nvPr/>
        </p:nvSpPr>
        <p:spPr>
          <a:xfrm>
            <a:off x="2165106" y="3319612"/>
            <a:ext cx="1773936" cy="771144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000" b="1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General Purpose Models</a:t>
            </a:r>
            <a: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b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istral Large 2 </a:t>
            </a:r>
            <a:b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istral Small </a:t>
            </a:r>
            <a:b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istral </a:t>
            </a:r>
            <a:r>
              <a:rPr lang="en-IN" sz="1000" kern="100" dirty="0" err="1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NeMo</a:t>
            </a:r>
            <a: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CB7A71E-ACD1-7CC2-94F4-740429D74201}"/>
              </a:ext>
            </a:extLst>
          </p:cNvPr>
          <p:cNvSpPr/>
          <p:nvPr/>
        </p:nvSpPr>
        <p:spPr>
          <a:xfrm>
            <a:off x="4377955" y="3319612"/>
            <a:ext cx="1773936" cy="771144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alist Model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odestral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istral Emb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Pixtral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12B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3DA9EE9-6904-DE96-47C5-C555214D04D6}"/>
              </a:ext>
            </a:extLst>
          </p:cNvPr>
          <p:cNvSpPr/>
          <p:nvPr/>
        </p:nvSpPr>
        <p:spPr>
          <a:xfrm>
            <a:off x="6590804" y="3319612"/>
            <a:ext cx="1773936" cy="771144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search Model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ixtral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athstral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odestral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Mamba</a:t>
            </a: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0110508D-440B-4A57-07B4-C573EA631646}"/>
              </a:ext>
            </a:extLst>
          </p:cNvPr>
          <p:cNvCxnSpPr>
            <a:cxnSpLocks/>
          </p:cNvCxnSpPr>
          <p:nvPr/>
        </p:nvCxnSpPr>
        <p:spPr>
          <a:xfrm>
            <a:off x="3052074" y="3133684"/>
            <a:ext cx="0" cy="185928"/>
          </a:xfrm>
          <a:prstGeom prst="straightConnector1">
            <a:avLst/>
          </a:prstGeom>
          <a:ln w="3175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9CFB6D77-D5DA-9EE7-3EF8-E63163278147}"/>
              </a:ext>
            </a:extLst>
          </p:cNvPr>
          <p:cNvCxnSpPr>
            <a:cxnSpLocks/>
          </p:cNvCxnSpPr>
          <p:nvPr/>
        </p:nvCxnSpPr>
        <p:spPr>
          <a:xfrm>
            <a:off x="5264923" y="3138256"/>
            <a:ext cx="0" cy="185928"/>
          </a:xfrm>
          <a:prstGeom prst="straightConnector1">
            <a:avLst/>
          </a:prstGeom>
          <a:ln w="3175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AE4D0B4B-4B6A-A1EA-0B3B-C3B5533448AF}"/>
              </a:ext>
            </a:extLst>
          </p:cNvPr>
          <p:cNvCxnSpPr>
            <a:cxnSpLocks/>
          </p:cNvCxnSpPr>
          <p:nvPr/>
        </p:nvCxnSpPr>
        <p:spPr>
          <a:xfrm>
            <a:off x="7477772" y="3133684"/>
            <a:ext cx="0" cy="185928"/>
          </a:xfrm>
          <a:prstGeom prst="straightConnector1">
            <a:avLst/>
          </a:prstGeom>
          <a:ln w="3175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28AC1992-D89C-88A9-80FD-72C1E9FA0ED3}"/>
              </a:ext>
            </a:extLst>
          </p:cNvPr>
          <p:cNvSpPr/>
          <p:nvPr/>
        </p:nvSpPr>
        <p:spPr>
          <a:xfrm>
            <a:off x="2165106" y="4682068"/>
            <a:ext cx="1773936" cy="640080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000" b="1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Le Chat: </a:t>
            </a:r>
            <a: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hat GPT, Perplexity like chat platform</a:t>
            </a:r>
            <a:b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IN" sz="1000" kern="100" dirty="0">
              <a:solidFill>
                <a:schemeClr val="tx1">
                  <a:lumMod val="50000"/>
                  <a:lumOff val="50000"/>
                </a:schemeClr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6631EB6-4318-C62A-F4D5-72C6C0BE0FAD}"/>
              </a:ext>
            </a:extLst>
          </p:cNvPr>
          <p:cNvSpPr/>
          <p:nvPr/>
        </p:nvSpPr>
        <p:spPr>
          <a:xfrm>
            <a:off x="4377955" y="4682068"/>
            <a:ext cx="1773936" cy="640080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a </a:t>
            </a:r>
            <a:r>
              <a:rPr lang="en-US" sz="1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Plateforme</a:t>
            </a: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 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andbox environment for testing Mistral Models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F71671EB-AD5E-6B7D-36A4-A4C6DE246B49}"/>
              </a:ext>
            </a:extLst>
          </p:cNvPr>
          <p:cNvCxnSpPr>
            <a:cxnSpLocks/>
          </p:cNvCxnSpPr>
          <p:nvPr/>
        </p:nvCxnSpPr>
        <p:spPr>
          <a:xfrm>
            <a:off x="3052074" y="4496140"/>
            <a:ext cx="0" cy="185928"/>
          </a:xfrm>
          <a:prstGeom prst="straightConnector1">
            <a:avLst/>
          </a:prstGeom>
          <a:ln w="3175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AA0731F6-35AD-3E07-0A31-94476EF7F50A}"/>
              </a:ext>
            </a:extLst>
          </p:cNvPr>
          <p:cNvCxnSpPr>
            <a:cxnSpLocks/>
          </p:cNvCxnSpPr>
          <p:nvPr/>
        </p:nvCxnSpPr>
        <p:spPr>
          <a:xfrm>
            <a:off x="5264923" y="4500712"/>
            <a:ext cx="0" cy="185928"/>
          </a:xfrm>
          <a:prstGeom prst="straightConnector1">
            <a:avLst/>
          </a:prstGeom>
          <a:ln w="3175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F936CDC0-64D7-D07D-403A-F822C936D082}"/>
              </a:ext>
            </a:extLst>
          </p:cNvPr>
          <p:cNvSpPr/>
          <p:nvPr/>
        </p:nvSpPr>
        <p:spPr>
          <a:xfrm>
            <a:off x="1828302" y="5954608"/>
            <a:ext cx="807720" cy="354268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hatbots</a:t>
            </a: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918BB7E4-E610-01BF-D5FD-383FACF20F33}"/>
              </a:ext>
            </a:extLst>
          </p:cNvPr>
          <p:cNvCxnSpPr/>
          <p:nvPr/>
        </p:nvCxnSpPr>
        <p:spPr>
          <a:xfrm>
            <a:off x="2232162" y="5758012"/>
            <a:ext cx="0" cy="185928"/>
          </a:xfrm>
          <a:prstGeom prst="straightConnector1">
            <a:avLst/>
          </a:prstGeom>
          <a:ln w="3175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262F8007-4F9A-54A9-0A64-432D3651E713}"/>
              </a:ext>
            </a:extLst>
          </p:cNvPr>
          <p:cNvSpPr/>
          <p:nvPr/>
        </p:nvSpPr>
        <p:spPr>
          <a:xfrm>
            <a:off x="2714509" y="5957655"/>
            <a:ext cx="1291974" cy="354269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ext Summarization</a:t>
            </a: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F223AEAB-0A8A-7364-CD52-DD651119F670}"/>
              </a:ext>
            </a:extLst>
          </p:cNvPr>
          <p:cNvCxnSpPr>
            <a:cxnSpLocks/>
          </p:cNvCxnSpPr>
          <p:nvPr/>
        </p:nvCxnSpPr>
        <p:spPr>
          <a:xfrm>
            <a:off x="3326775" y="5768680"/>
            <a:ext cx="0" cy="185928"/>
          </a:xfrm>
          <a:prstGeom prst="straightConnector1">
            <a:avLst/>
          </a:prstGeom>
          <a:ln w="3175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1650252B-2EDC-7D33-AD5A-36FDB284A8F5}"/>
              </a:ext>
            </a:extLst>
          </p:cNvPr>
          <p:cNvSpPr/>
          <p:nvPr/>
        </p:nvSpPr>
        <p:spPr>
          <a:xfrm>
            <a:off x="4071633" y="5957656"/>
            <a:ext cx="1092706" cy="351220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ext Classification</a:t>
            </a: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9CE1484C-060D-80C2-4D22-37180DE4B791}"/>
              </a:ext>
            </a:extLst>
          </p:cNvPr>
          <p:cNvCxnSpPr>
            <a:cxnSpLocks/>
          </p:cNvCxnSpPr>
          <p:nvPr/>
        </p:nvCxnSpPr>
        <p:spPr>
          <a:xfrm>
            <a:off x="4617986" y="5768680"/>
            <a:ext cx="0" cy="185928"/>
          </a:xfrm>
          <a:prstGeom prst="straightConnector1">
            <a:avLst/>
          </a:prstGeom>
          <a:ln w="3175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8290CA0E-98B7-393A-CBD3-FA80761708AF}"/>
              </a:ext>
            </a:extLst>
          </p:cNvPr>
          <p:cNvSpPr/>
          <p:nvPr/>
        </p:nvSpPr>
        <p:spPr>
          <a:xfrm>
            <a:off x="5223778" y="5954608"/>
            <a:ext cx="1092706" cy="351220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tent Creation</a:t>
            </a: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9F24336B-D72E-F71D-A11D-424869E8E8FA}"/>
              </a:ext>
            </a:extLst>
          </p:cNvPr>
          <p:cNvCxnSpPr>
            <a:cxnSpLocks/>
          </p:cNvCxnSpPr>
          <p:nvPr/>
        </p:nvCxnSpPr>
        <p:spPr>
          <a:xfrm>
            <a:off x="5770131" y="5765632"/>
            <a:ext cx="0" cy="185928"/>
          </a:xfrm>
          <a:prstGeom prst="straightConnector1">
            <a:avLst/>
          </a:prstGeom>
          <a:ln w="3175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45839072-A083-740A-CA41-C625C5276378}"/>
              </a:ext>
            </a:extLst>
          </p:cNvPr>
          <p:cNvSpPr/>
          <p:nvPr/>
        </p:nvSpPr>
        <p:spPr>
          <a:xfrm>
            <a:off x="6391164" y="5951560"/>
            <a:ext cx="1092706" cy="351220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de Completion</a:t>
            </a: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5496AB43-30E0-BBB1-9D22-0084C10D6E90}"/>
              </a:ext>
            </a:extLst>
          </p:cNvPr>
          <p:cNvCxnSpPr>
            <a:cxnSpLocks/>
          </p:cNvCxnSpPr>
          <p:nvPr/>
        </p:nvCxnSpPr>
        <p:spPr>
          <a:xfrm>
            <a:off x="6937517" y="5762584"/>
            <a:ext cx="0" cy="185928"/>
          </a:xfrm>
          <a:prstGeom prst="straightConnector1">
            <a:avLst/>
          </a:prstGeom>
          <a:ln w="3175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4FF75908-145D-9B72-DF9C-B2D5023CBC76}"/>
              </a:ext>
            </a:extLst>
          </p:cNvPr>
          <p:cNvSpPr/>
          <p:nvPr/>
        </p:nvSpPr>
        <p:spPr>
          <a:xfrm>
            <a:off x="7558548" y="5959180"/>
            <a:ext cx="1324356" cy="343600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ultilingual Support</a:t>
            </a: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46CC781F-EA3D-6BE3-48DF-3C274D21C44F}"/>
              </a:ext>
            </a:extLst>
          </p:cNvPr>
          <p:cNvCxnSpPr>
            <a:cxnSpLocks/>
          </p:cNvCxnSpPr>
          <p:nvPr/>
        </p:nvCxnSpPr>
        <p:spPr>
          <a:xfrm>
            <a:off x="8220723" y="5770204"/>
            <a:ext cx="0" cy="185928"/>
          </a:xfrm>
          <a:prstGeom prst="straightConnector1">
            <a:avLst/>
          </a:prstGeom>
          <a:ln w="3175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39367C17-8E1E-B9D6-E70E-02B3A7E7A292}"/>
              </a:ext>
            </a:extLst>
          </p:cNvPr>
          <p:cNvSpPr txBox="1"/>
          <p:nvPr/>
        </p:nvSpPr>
        <p:spPr>
          <a:xfrm>
            <a:off x="9157299" y="1858491"/>
            <a:ext cx="2901189" cy="16453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1000" b="1" dirty="0"/>
              <a:t>General Purpose Models </a:t>
            </a:r>
            <a:r>
              <a:rPr lang="en-US" sz="1000" dirty="0"/>
              <a:t>- </a:t>
            </a:r>
            <a:r>
              <a:rPr lang="en-IN" sz="1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re versatile tools capable of handling a broad array of natural language processing (NLP) tasks.</a:t>
            </a:r>
            <a:endParaRPr lang="en-US" sz="10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1000" b="1" dirty="0"/>
              <a:t>Specialist Models </a:t>
            </a:r>
            <a:r>
              <a:rPr lang="en-US" sz="1000" dirty="0"/>
              <a:t>- are purpose-built for specific applications rather than general text processing.</a:t>
            </a:r>
          </a:p>
          <a:p>
            <a:pPr marL="171450" indent="-17145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1000" b="1" dirty="0"/>
              <a:t>Research Models </a:t>
            </a:r>
            <a:r>
              <a:rPr lang="en-US" sz="1000" dirty="0"/>
              <a:t>- open source, with no restrictions on commercial use or deployment environments, providing a foundation for experimentation, development, and real-world applications.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F7C3549-2813-7710-1BCD-32C7B93FF50F}"/>
              </a:ext>
            </a:extLst>
          </p:cNvPr>
          <p:cNvSpPr/>
          <p:nvPr/>
        </p:nvSpPr>
        <p:spPr>
          <a:xfrm>
            <a:off x="9157297" y="1516720"/>
            <a:ext cx="2840581" cy="256032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 b="1" kern="10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efinitions</a:t>
            </a:r>
            <a:endParaRPr lang="en-US" sz="1000" b="1" kern="100" dirty="0">
              <a:solidFill>
                <a:schemeClr val="bg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0E76FE9-AA34-4042-F7EF-E24C9C505B9F}"/>
              </a:ext>
            </a:extLst>
          </p:cNvPr>
          <p:cNvSpPr txBox="1"/>
          <p:nvPr/>
        </p:nvSpPr>
        <p:spPr>
          <a:xfrm>
            <a:off x="9157297" y="3864224"/>
            <a:ext cx="2840580" cy="87421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indent="-285750">
              <a:buFont typeface="Arial" panose="020B0604020202020204" pitchFamily="34" charset="0"/>
              <a:buChar char="•"/>
              <a:defRPr sz="1000" b="0" i="0" u="none" strike="noStrike">
                <a:solidFill>
                  <a:srgbClr val="337AB7"/>
                </a:solidFill>
                <a:effectLst/>
                <a:latin typeface="Roboto" panose="02000000000000000000" pitchFamily="2" charset="0"/>
              </a:defRPr>
            </a:lvl1pPr>
          </a:lstStyle>
          <a:p>
            <a:r>
              <a:rPr lang="en-IN" dirty="0">
                <a:hlinkClick r:id="rId5"/>
              </a:rPr>
              <a:t>Mistral</a:t>
            </a:r>
            <a:endParaRPr lang="en-IN" dirty="0"/>
          </a:p>
          <a:p>
            <a:r>
              <a:rPr lang="en-IN" dirty="0">
                <a:hlinkClick r:id="rId6"/>
              </a:rPr>
              <a:t>AI-Pro</a:t>
            </a:r>
            <a:endParaRPr lang="en-IN" dirty="0"/>
          </a:p>
          <a:p>
            <a:r>
              <a:rPr lang="en-IN" dirty="0">
                <a:hlinkClick r:id="rId7"/>
              </a:rPr>
              <a:t>Wiki</a:t>
            </a:r>
            <a:endParaRPr lang="en-IN" dirty="0"/>
          </a:p>
          <a:p>
            <a:r>
              <a:rPr lang="en-IN" dirty="0">
                <a:hlinkClick r:id="rId8"/>
              </a:rPr>
              <a:t>Le Chat</a:t>
            </a:r>
            <a:endParaRPr lang="en-IN" dirty="0"/>
          </a:p>
          <a:p>
            <a:r>
              <a:rPr lang="en-IN" dirty="0">
                <a:hlinkClick r:id="rId9"/>
              </a:rPr>
              <a:t>LinkedIn</a:t>
            </a:r>
            <a:endParaRPr lang="en-IN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7D4595A-0DC1-3A52-D9C5-3122D0A2FC34}"/>
              </a:ext>
            </a:extLst>
          </p:cNvPr>
          <p:cNvSpPr/>
          <p:nvPr/>
        </p:nvSpPr>
        <p:spPr>
          <a:xfrm>
            <a:off x="9157297" y="3577502"/>
            <a:ext cx="2840581" cy="256032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ference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075FEA6-27FF-FDEA-C214-20D7F0882102}"/>
              </a:ext>
            </a:extLst>
          </p:cNvPr>
          <p:cNvSpPr/>
          <p:nvPr/>
        </p:nvSpPr>
        <p:spPr>
          <a:xfrm>
            <a:off x="9157296" y="4714264"/>
            <a:ext cx="2840581" cy="256032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petitor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F1AEC0C-4B2A-9ADD-C807-8C656612088B}"/>
              </a:ext>
            </a:extLst>
          </p:cNvPr>
          <p:cNvSpPr txBox="1"/>
          <p:nvPr/>
        </p:nvSpPr>
        <p:spPr>
          <a:xfrm>
            <a:off x="9157296" y="5002108"/>
            <a:ext cx="278198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000" b="0" i="0" u="none" strike="noStrike" dirty="0">
                <a:solidFill>
                  <a:srgbClr val="337AB7"/>
                </a:solidFill>
                <a:effectLst/>
                <a:latin typeface="Roboto" panose="02000000000000000000" pitchFamily="2" charset="0"/>
                <a:hlinkClick r:id="rId10"/>
              </a:rPr>
              <a:t>OpenAI</a:t>
            </a:r>
            <a:endParaRPr lang="en-IN" sz="1000" b="0" i="0" u="none" strike="noStrike" dirty="0">
              <a:solidFill>
                <a:srgbClr val="337AB7"/>
              </a:solidFill>
              <a:effectLst/>
              <a:latin typeface="Roboto" panose="020000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000" dirty="0">
                <a:solidFill>
                  <a:srgbClr val="337AB7"/>
                </a:solidFill>
                <a:latin typeface="Roboto" panose="02000000000000000000" pitchFamily="2" charset="0"/>
                <a:hlinkClick r:id="rId11"/>
              </a:rPr>
              <a:t>XAI</a:t>
            </a:r>
            <a:endParaRPr lang="en-IN" sz="1000" dirty="0">
              <a:solidFill>
                <a:srgbClr val="337AB7"/>
              </a:solidFill>
              <a:latin typeface="Roboto" panose="020000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000" dirty="0">
                <a:solidFill>
                  <a:srgbClr val="337AB7"/>
                </a:solidFill>
                <a:latin typeface="Roboto" panose="02000000000000000000" pitchFamily="2" charset="0"/>
                <a:hlinkClick r:id="rId12"/>
              </a:rPr>
              <a:t>Sakana</a:t>
            </a:r>
            <a:endParaRPr lang="en-IN" sz="1000" dirty="0">
              <a:solidFill>
                <a:srgbClr val="337AB7"/>
              </a:solidFill>
              <a:latin typeface="Roboto" panose="020000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000" dirty="0">
                <a:solidFill>
                  <a:srgbClr val="337AB7"/>
                </a:solidFill>
                <a:latin typeface="Roboto" panose="02000000000000000000" pitchFamily="2" charset="0"/>
                <a:hlinkClick r:id="rId13"/>
              </a:rPr>
              <a:t>Anthropic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3013708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ntegral">
  <a:themeElements>
    <a:clrScheme name="Integral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B9F25"/>
      </a:hlink>
      <a:folHlink>
        <a:srgbClr val="B26B02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230000"/>
              </a:schemeClr>
              <a:schemeClr val="phClr">
                <a:tint val="92000"/>
                <a:shade val="69000"/>
                <a:satMod val="250000"/>
              </a:schemeClr>
            </a:duotone>
          </a:blip>
          <a:tile tx="0" ty="0" sx="40000" sy="4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gral" id="{3577F8C9-A904-41D8-97D2-FD898F53F20E}" vid="{682D6EBE-8D36-4FF2-9DB3-F3D8D7B6715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6</TotalTime>
  <Words>224</Words>
  <Application>Microsoft Office PowerPoint</Application>
  <PresentationFormat>Widescreen</PresentationFormat>
  <Paragraphs>3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Roboto</vt:lpstr>
      <vt:lpstr>Tw Cen MT</vt:lpstr>
      <vt:lpstr>Tw Cen MT Condensed</vt:lpstr>
      <vt:lpstr>Wingdings 3</vt:lpstr>
      <vt:lpstr>Integral</vt:lpstr>
      <vt:lpstr>think-cell Slide</vt:lpstr>
      <vt:lpstr>Summary of Mistral.ai shows an ecosystem of AI models and Products built around NLP and general text processing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andeep sarathy</dc:creator>
  <cp:lastModifiedBy>sandeep sarathy</cp:lastModifiedBy>
  <cp:revision>1</cp:revision>
  <dcterms:created xsi:type="dcterms:W3CDTF">2025-03-07T14:07:01Z</dcterms:created>
  <dcterms:modified xsi:type="dcterms:W3CDTF">2025-03-07T14:13:53Z</dcterms:modified>
</cp:coreProperties>
</file>